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57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8" r:id="rId13"/>
    <p:sldId id="267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FA583D-D92C-4E9A-A68C-CD2853E3D3A7}" v="538" dt="2021-09-13T19:28:28.788"/>
    <p1510:client id="{92E887B8-377C-4AAF-9E00-750F182A61B1}" v="25" dt="2021-09-14T14:02:06.602"/>
    <p1510:client id="{D88678BE-C1F0-489E-919F-E0CEB9C6BFEA}" v="8" dt="2021-09-08T00:56:30.7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>
      <p:cViewPr varScale="1">
        <p:scale>
          <a:sx n="92" d="100"/>
          <a:sy n="92" d="100"/>
        </p:scale>
        <p:origin x="1491" y="89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D7E25F-466E-4283-B40E-614324AC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695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261" imgH="351" progId="TCLayout.ActiveDocument.1">
                  <p:embed/>
                </p:oleObj>
              </mc:Choice>
              <mc:Fallback>
                <p:oleObj name="think-cell Slide" r:id="rId15" imgW="26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2D7E25F-466E-4283-B40E-614324AC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9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hyperlink" Target="https://github.com/yairs2000/DataInCloud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8.svg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3EE336-6A64-41E4-99FC-B5B2F8606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67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3EE336-6A64-41E4-99FC-B5B2F8606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ata lakes/warehouses in the clou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Yair Segal</a:t>
            </a:r>
          </a:p>
        </p:txBody>
      </p:sp>
    </p:spTree>
    <p:extLst>
      <p:ext uri="{BB962C8B-B14F-4D97-AF65-F5344CB8AC3E}">
        <p14:creationId xmlns:p14="http://schemas.microsoft.com/office/powerpoint/2010/main" val="29607083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14534E-4A9D-4F32-9EC1-360DCA0147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99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14534E-4A9D-4F32-9EC1-360DCA014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708A5C-02CD-47D5-8578-75C1036A6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eneral architecture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F316E837-F792-47B3-B976-4D9CD72611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400" y="2183052"/>
            <a:ext cx="8602200" cy="356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340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BDCE3-07A4-4819-8511-886D9220F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Additional components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A255D7-0AE3-45F1-A4DB-D7591AF9B68F}"/>
              </a:ext>
            </a:extLst>
          </p:cNvPr>
          <p:cNvSpPr txBox="1"/>
          <p:nvPr/>
        </p:nvSpPr>
        <p:spPr>
          <a:xfrm>
            <a:off x="458842" y="1415104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 dirty="0">
                <a:cs typeface="Calibri"/>
              </a:rPr>
              <a:t>AWS Lambda</a:t>
            </a:r>
          </a:p>
          <a:p>
            <a:pPr marL="285750" indent="-285750">
              <a:buFont typeface="Arial"/>
              <a:buChar char="•"/>
            </a:pPr>
            <a:r>
              <a:rPr lang="en-US" sz="2400" dirty="0">
                <a:cs typeface="Calibri"/>
              </a:rPr>
              <a:t>Azure </a:t>
            </a:r>
            <a:r>
              <a:rPr lang="en-US" sz="2400" dirty="0" err="1">
                <a:cs typeface="Calibri"/>
              </a:rPr>
              <a:t>datafactory</a:t>
            </a:r>
            <a:endParaRPr lang="en-US" sz="2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6708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438AD7-B5AF-459D-94B2-FB6A29D552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80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5438AD7-B5AF-459D-94B2-FB6A29D55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1F23E2-FCC0-4425-ABBE-8702C8B99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IAC and CI/C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A3062F-4B4A-4FB9-B733-38B2A33F5960}"/>
              </a:ext>
            </a:extLst>
          </p:cNvPr>
          <p:cNvSpPr txBox="1"/>
          <p:nvPr/>
        </p:nvSpPr>
        <p:spPr>
          <a:xfrm>
            <a:off x="458842" y="1415104"/>
            <a:ext cx="823042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cs typeface="Calibri"/>
              </a:rPr>
              <a:t>Why infrastructure as code?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/>
              </a:rPr>
              <a:t>IAC options – Native(Cloud formation, Azure templates), Terraform, </a:t>
            </a:r>
            <a:r>
              <a:rPr lang="en-US" dirty="0" err="1">
                <a:cs typeface="Calibri"/>
              </a:rPr>
              <a:t>Pulumi</a:t>
            </a:r>
            <a:endParaRPr lang="en-US" dirty="0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/>
              </a:rPr>
              <a:t>Why add CI/CD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/>
              </a:rPr>
              <a:t>CI/CD options – AWS pipelines, Azure DEVOPS</a:t>
            </a:r>
          </a:p>
        </p:txBody>
      </p:sp>
    </p:spTree>
    <p:extLst>
      <p:ext uri="{BB962C8B-B14F-4D97-AF65-F5344CB8AC3E}">
        <p14:creationId xmlns:p14="http://schemas.microsoft.com/office/powerpoint/2010/main" val="986739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E9BBA2-5B28-4E0D-BAAF-B403E7B272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11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E9BBA2-5B28-4E0D-BAAF-B403E7B27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C36638-EAE1-4D9E-A170-5A3D8BC14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Workshop exercis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E8A890-2FB9-4CE3-98F0-B40DF4A8435F}"/>
              </a:ext>
            </a:extLst>
          </p:cNvPr>
          <p:cNvSpPr txBox="1"/>
          <p:nvPr/>
        </p:nvSpPr>
        <p:spPr>
          <a:xfrm>
            <a:off x="458842" y="1443833"/>
            <a:ext cx="8234524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Get crime data in to the cloud</a:t>
            </a:r>
          </a:p>
          <a:p>
            <a:r>
              <a:rPr lang="en-US" dirty="0">
                <a:cs typeface="Calibri"/>
              </a:rPr>
              <a:t>Data is provided in a CSV format</a:t>
            </a:r>
          </a:p>
          <a:p>
            <a:r>
              <a:rPr lang="en-US" dirty="0">
                <a:cs typeface="Calibri"/>
              </a:rPr>
              <a:t>Need to be able to load to lake flow into data warehouse and report on</a:t>
            </a:r>
          </a:p>
          <a:p>
            <a:r>
              <a:rPr lang="en-US" dirty="0">
                <a:cs typeface="Calibri"/>
              </a:rPr>
              <a:t>Choose a platform set up code and start working. CI/CD is optional</a:t>
            </a:r>
          </a:p>
          <a:p>
            <a:r>
              <a:rPr lang="en-US">
                <a:cs typeface="Calibri"/>
              </a:rPr>
              <a:t>All code is written in terraform and C# and is in repo</a:t>
            </a:r>
          </a:p>
          <a:p>
            <a:endParaRPr lang="en-US" dirty="0">
              <a:cs typeface="Calibri"/>
            </a:endParaRPr>
          </a:p>
          <a:p>
            <a:r>
              <a:rPr lang="en-US">
                <a:cs typeface="Calibri"/>
              </a:rPr>
              <a:t>Make this your workshop.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0782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2832A-6756-4AD3-B635-29BDC3C38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C59E2EE6-3E1F-4CC0-8638-53C1418254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8922" y="1600200"/>
            <a:ext cx="8046156" cy="4525963"/>
          </a:xfrm>
        </p:spPr>
      </p:pic>
    </p:spTree>
    <p:extLst>
      <p:ext uri="{BB962C8B-B14F-4D97-AF65-F5344CB8AC3E}">
        <p14:creationId xmlns:p14="http://schemas.microsoft.com/office/powerpoint/2010/main" val="3077066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33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E8DFD5-A89D-48DB-8B72-032D8F03C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Cont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246F01-E616-4206-A89F-6F67C1862DCC}"/>
              </a:ext>
            </a:extLst>
          </p:cNvPr>
          <p:cNvSpPr txBox="1"/>
          <p:nvPr/>
        </p:nvSpPr>
        <p:spPr>
          <a:xfrm>
            <a:off x="457200" y="1600200"/>
            <a:ext cx="8229600" cy="531222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Introductions</a:t>
            </a:r>
          </a:p>
          <a:p>
            <a:r>
              <a:rPr lang="en-US" dirty="0"/>
              <a:t>About the workshop</a:t>
            </a:r>
          </a:p>
          <a:p>
            <a:r>
              <a:rPr lang="en-US" dirty="0"/>
              <a:t>Cloud providers</a:t>
            </a:r>
          </a:p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  <a:p>
            <a:r>
              <a:rPr lang="en-US" dirty="0"/>
              <a:t>Data lakes/warehouses background</a:t>
            </a:r>
          </a:p>
          <a:p>
            <a:r>
              <a:rPr lang="en-US" dirty="0"/>
              <a:t>Data formats</a:t>
            </a:r>
          </a:p>
          <a:p>
            <a:r>
              <a:rPr lang="en-US" dirty="0"/>
              <a:t>General architecture</a:t>
            </a:r>
          </a:p>
          <a:p>
            <a:r>
              <a:rPr lang="en-US" dirty="0"/>
              <a:t>IAC and CI/CD</a:t>
            </a:r>
          </a:p>
          <a:p>
            <a:r>
              <a:rPr lang="en-US" dirty="0"/>
              <a:t>Workshop exercise</a:t>
            </a:r>
          </a:p>
        </p:txBody>
      </p:sp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49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E8DFD5-A89D-48DB-8B72-032D8F03C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Introduction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29ADBD1-BC19-49B7-A371-B2E75B0041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88108" y="1965600"/>
            <a:ext cx="231778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144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115B0E-9C30-47F6-8D59-4D0A22CA99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53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115B0E-9C30-47F6-8D59-4D0A22CA9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C820E-630C-441E-8784-156E83837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About the worksho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486F72-0242-4291-9F96-D7AE9B56BD08}"/>
              </a:ext>
            </a:extLst>
          </p:cNvPr>
          <p:cNvSpPr txBox="1"/>
          <p:nvPr/>
        </p:nvSpPr>
        <p:spPr>
          <a:xfrm>
            <a:off x="457200" y="1600200"/>
            <a:ext cx="8229600" cy="285001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Workshop content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>
                <a:hlinkClick r:id="rId6"/>
              </a:rPr>
              <a:t>https://github.com/yairs2000/DataInCloud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Not meant to deliver production experience. Just the basics.</a:t>
            </a:r>
            <a:endParaRPr lang="en-US" dirty="0">
              <a:solidFill>
                <a:srgbClr val="FF0000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2773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298C04-F25C-4610-BE57-07475049E5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409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7" imgW="261" imgH="351" progId="TCLayout.ActiveDocument.1">
                  <p:embed/>
                </p:oleObj>
              </mc:Choice>
              <mc:Fallback>
                <p:oleObj name="think-cell Slide" r:id="rId7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298C04-F25C-4610-BE57-07475049E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C29115-8352-4BD1-8594-4A94CE33F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Cloud provid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6A9130-7AD0-40F2-A7B7-ACC3FB6645C5}"/>
              </a:ext>
            </a:extLst>
          </p:cNvPr>
          <p:cNvSpPr txBox="1"/>
          <p:nvPr/>
        </p:nvSpPr>
        <p:spPr>
          <a:xfrm>
            <a:off x="3657600" y="1752599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z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7DE2B4-93CB-46E5-9F8B-9DCC7A1CC69B}"/>
              </a:ext>
            </a:extLst>
          </p:cNvPr>
          <p:cNvSpPr txBox="1"/>
          <p:nvPr/>
        </p:nvSpPr>
        <p:spPr>
          <a:xfrm>
            <a:off x="609600" y="1752600"/>
            <a:ext cx="3048000" cy="117570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WS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1F8859-EB00-479A-8FFE-2294C87977A3}"/>
              </a:ext>
            </a:extLst>
          </p:cNvPr>
          <p:cNvSpPr txBox="1"/>
          <p:nvPr/>
        </p:nvSpPr>
        <p:spPr>
          <a:xfrm>
            <a:off x="6705600" y="1752598"/>
            <a:ext cx="23622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Goog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F5EF07B-E826-4D70-B759-854FC11FF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586038"/>
            <a:ext cx="2163517" cy="134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crosoft Dynamics 365 ♥ Azure App Services | Dynamics 365 - NJ, PA, DE,  MD, FL | Beringer Technology Group">
            <a:extLst>
              <a:ext uri="{FF2B5EF4-FFF2-40B4-BE49-F238E27FC236}">
                <a16:creationId xmlns:a16="http://schemas.microsoft.com/office/drawing/2014/main" id="{BC07D1E6-31D7-4D70-B6F4-AA06905EC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25" y="2383994"/>
            <a:ext cx="2495550" cy="156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Google Cloud Platform Tutorial: From Zero to Hero with GCP">
            <a:extLst>
              <a:ext uri="{FF2B5EF4-FFF2-40B4-BE49-F238E27FC236}">
                <a16:creationId xmlns:a16="http://schemas.microsoft.com/office/drawing/2014/main" id="{6BCD5AEF-489A-4B26-B8BA-85B7BCBB6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979" y="2457767"/>
            <a:ext cx="2628445" cy="1471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CustomIcon">
            <a:extLst>
              <a:ext uri="{FF2B5EF4-FFF2-40B4-BE49-F238E27FC236}">
                <a16:creationId xmlns:a16="http://schemas.microsoft.com/office/drawing/2014/main" id="{BA840503-CF5A-42E2-A6DF-93CA764113B7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4124185" y="4580890"/>
            <a:ext cx="1019810" cy="101981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0B3629-36D4-4663-AF6C-1870FFC0E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F2791C5-95E2-47C3-B242-3DF621FEE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615EC251-A766-4596-B3BC-2BDA4A18421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208405" y="4580890"/>
            <a:ext cx="1019810" cy="1019810"/>
            <a:chOff x="-205105" y="-205105"/>
            <a:chExt cx="1019810" cy="101981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D0CCB69-2601-4973-A516-66EBB98124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3EE539E-8198-4708-A0CE-93A3DAF4D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0" name="CustomIcon">
            <a:extLst>
              <a:ext uri="{FF2B5EF4-FFF2-40B4-BE49-F238E27FC236}">
                <a16:creationId xmlns:a16="http://schemas.microsoft.com/office/drawing/2014/main" id="{85E431E1-9EBD-4E1C-96B1-A570462DF45C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376795" y="4580890"/>
            <a:ext cx="1019810" cy="1019810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1E7116D-DF75-4E8E-A9DE-D63FBBA59E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E37AB8FC-7F6A-4834-9454-C76FABAB3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1373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B6E02-0C95-4FB5-9F09-39AB7CE1D0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71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B6E02-0C95-4FB5-9F09-39AB7CE1D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AC9CBA-ED56-43B2-9383-C7587A63A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F599B-2A35-4E20-A3D0-3F98C7788FAC}"/>
              </a:ext>
            </a:extLst>
          </p:cNvPr>
          <p:cNvSpPr txBox="1"/>
          <p:nvPr/>
        </p:nvSpPr>
        <p:spPr>
          <a:xfrm>
            <a:off x="457200" y="1600200"/>
            <a:ext cx="3048000" cy="2948499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Terraform</a:t>
            </a:r>
          </a:p>
          <a:p>
            <a:r>
              <a:rPr lang="en-US" dirty="0"/>
              <a:t>Cloud accounts</a:t>
            </a:r>
          </a:p>
          <a:p>
            <a:r>
              <a:rPr lang="en-US" dirty="0"/>
              <a:t>VS Code</a:t>
            </a:r>
          </a:p>
          <a:p>
            <a:r>
              <a:rPr lang="en-US" dirty="0">
                <a:solidFill>
                  <a:srgbClr val="FF0000"/>
                </a:solidFill>
                <a:cs typeface="Calibri"/>
              </a:rPr>
              <a:t>AWS CLI/SDK</a:t>
            </a:r>
          </a:p>
          <a:p>
            <a:r>
              <a:rPr lang="en-US" dirty="0">
                <a:solidFill>
                  <a:srgbClr val="FF0000"/>
                </a:solidFill>
                <a:cs typeface="Calibri"/>
              </a:rPr>
              <a:t>AZURE CLI/SDK</a:t>
            </a:r>
          </a:p>
        </p:txBody>
      </p:sp>
    </p:spTree>
    <p:extLst>
      <p:ext uri="{BB962C8B-B14F-4D97-AF65-F5344CB8AC3E}">
        <p14:creationId xmlns:p14="http://schemas.microsoft.com/office/powerpoint/2010/main" val="3727533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DC7721-8111-44CC-A535-0DB89EE6F3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875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DC7721-8111-44CC-A535-0DB89EE6F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78FE29-AA92-4972-BFCE-9A0378F9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Data lakes/warehouses backgroun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92B71A-811E-4292-81FF-6A9957604840}"/>
              </a:ext>
            </a:extLst>
          </p:cNvPr>
          <p:cNvSpPr txBox="1"/>
          <p:nvPr/>
        </p:nvSpPr>
        <p:spPr>
          <a:xfrm>
            <a:off x="457200" y="1600200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lake</a:t>
            </a:r>
          </a:p>
        </p:txBody>
      </p:sp>
      <p:pic>
        <p:nvPicPr>
          <p:cNvPr id="2050" name="Picture 2" descr="lake | Definition, Types, Examples, &amp; Facts | Britannica">
            <a:extLst>
              <a:ext uri="{FF2B5EF4-FFF2-40B4-BE49-F238E27FC236}">
                <a16:creationId xmlns:a16="http://schemas.microsoft.com/office/drawing/2014/main" id="{1B720CF5-1922-4402-A1C7-8A43EFD49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505075"/>
            <a:ext cx="2262189" cy="169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75D029-22E9-417C-B1E9-69F72A7C61E4}"/>
              </a:ext>
            </a:extLst>
          </p:cNvPr>
          <p:cNvSpPr txBox="1"/>
          <p:nvPr/>
        </p:nvSpPr>
        <p:spPr>
          <a:xfrm>
            <a:off x="5562600" y="1600200"/>
            <a:ext cx="34290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warehouse</a:t>
            </a:r>
          </a:p>
        </p:txBody>
      </p:sp>
      <p:pic>
        <p:nvPicPr>
          <p:cNvPr id="2052" name="Picture 4" descr="2,593 Water Bottle Package Stock Photos, Pictures &amp; Royalty-Free Images -  iStock">
            <a:extLst>
              <a:ext uri="{FF2B5EF4-FFF2-40B4-BE49-F238E27FC236}">
                <a16:creationId xmlns:a16="http://schemas.microsoft.com/office/drawing/2014/main" id="{5C51E91B-940F-4126-B383-A87CF34A6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412" y="2505075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5BE4C1-7D96-4523-92C5-A34A43DE50E4}"/>
              </a:ext>
            </a:extLst>
          </p:cNvPr>
          <p:cNvSpPr txBox="1"/>
          <p:nvPr/>
        </p:nvSpPr>
        <p:spPr>
          <a:xfrm>
            <a:off x="8382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Raw</a:t>
            </a:r>
          </a:p>
          <a:p>
            <a:r>
              <a:rPr lang="en-US" sz="2400" dirty="0"/>
              <a:t>Unorganized</a:t>
            </a:r>
          </a:p>
          <a:p>
            <a:r>
              <a:rPr lang="en-US" sz="2400" dirty="0"/>
              <a:t>Fast write</a:t>
            </a:r>
          </a:p>
          <a:p>
            <a:r>
              <a:rPr lang="en-US" sz="2400" dirty="0"/>
              <a:t>Slow read</a:t>
            </a:r>
          </a:p>
          <a:p>
            <a:r>
              <a:rPr lang="en-US" sz="2400" dirty="0"/>
              <a:t>Accept al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3A826D-B222-456E-85B9-8A41455A14B7}"/>
              </a:ext>
            </a:extLst>
          </p:cNvPr>
          <p:cNvSpPr txBox="1"/>
          <p:nvPr/>
        </p:nvSpPr>
        <p:spPr>
          <a:xfrm>
            <a:off x="58674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Processed</a:t>
            </a:r>
          </a:p>
          <a:p>
            <a:r>
              <a:rPr lang="en-US" sz="2400" dirty="0"/>
              <a:t>Structured</a:t>
            </a:r>
          </a:p>
          <a:p>
            <a:r>
              <a:rPr lang="en-US" sz="2400" dirty="0"/>
              <a:t>Fast read</a:t>
            </a:r>
          </a:p>
          <a:p>
            <a:r>
              <a:rPr lang="en-US" sz="2400" dirty="0"/>
              <a:t>Slow write</a:t>
            </a:r>
          </a:p>
          <a:p>
            <a:r>
              <a:rPr lang="en-US" sz="2400" dirty="0"/>
              <a:t>Relational data </a:t>
            </a:r>
          </a:p>
        </p:txBody>
      </p:sp>
    </p:spTree>
    <p:extLst>
      <p:ext uri="{BB962C8B-B14F-4D97-AF65-F5344CB8AC3E}">
        <p14:creationId xmlns:p14="http://schemas.microsoft.com/office/powerpoint/2010/main" val="2730477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4A5E92-52E4-47FD-9357-0FC960DEFF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06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4" imgW="261" imgH="351" progId="TCLayout.ActiveDocument.1">
                  <p:embed/>
                </p:oleObj>
              </mc:Choice>
              <mc:Fallback>
                <p:oleObj name="think-cell Slide" r:id="rId4" imgW="261" imgH="35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4A5E92-52E4-47FD-9357-0FC960DEF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B558FA-C2F2-4AE4-9152-5BBA4FFEC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ata forma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A76FFE-144C-4DB3-B0B4-DEA035720BE6}"/>
              </a:ext>
            </a:extLst>
          </p:cNvPr>
          <p:cNvSpPr txBox="1"/>
          <p:nvPr/>
        </p:nvSpPr>
        <p:spPr>
          <a:xfrm>
            <a:off x="457200" y="1600200"/>
            <a:ext cx="3048000" cy="107721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VRO, Parquet, ORC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7626A22-73FD-4CCF-A611-613C4353C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2362200"/>
            <a:ext cx="5257800" cy="445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431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TotalTime>120</TotalTime>
  <Words>117</Words>
  <Application>Microsoft Office PowerPoint</Application>
  <PresentationFormat>On-screen Show (4:3)</PresentationFormat>
  <Paragraphs>44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Data lakes/warehouses in the cloud</vt:lpstr>
      <vt:lpstr>PowerPoint Presentation</vt:lpstr>
      <vt:lpstr>Content</vt:lpstr>
      <vt:lpstr>Introduction</vt:lpstr>
      <vt:lpstr>About the workshop</vt:lpstr>
      <vt:lpstr>Cloud providers</vt:lpstr>
      <vt:lpstr>Pre reqs</vt:lpstr>
      <vt:lpstr>Data lakes/warehouses background</vt:lpstr>
      <vt:lpstr>Data formats</vt:lpstr>
      <vt:lpstr>General architecture</vt:lpstr>
      <vt:lpstr>Additional components</vt:lpstr>
      <vt:lpstr>IAC and CI/CD</vt:lpstr>
      <vt:lpstr>Workshop exerci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lakes/warehouses in the cloud</dc:title>
  <dc:creator>Yair Segal</dc:creator>
  <cp:lastModifiedBy>Yair Segal</cp:lastModifiedBy>
  <cp:revision>79</cp:revision>
  <dcterms:created xsi:type="dcterms:W3CDTF">2021-09-06T23:07:18Z</dcterms:created>
  <dcterms:modified xsi:type="dcterms:W3CDTF">2021-09-14T14:03:23Z</dcterms:modified>
</cp:coreProperties>
</file>